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9" r:id="rId1"/>
  </p:sldMasterIdLst>
  <p:notesMasterIdLst>
    <p:notesMasterId r:id="rId14"/>
  </p:notesMasterIdLst>
  <p:handoutMasterIdLst>
    <p:handoutMasterId r:id="rId15"/>
  </p:handoutMasterIdLst>
  <p:sldIdLst>
    <p:sldId id="256" r:id="rId2"/>
    <p:sldId id="309" r:id="rId3"/>
    <p:sldId id="310" r:id="rId4"/>
    <p:sldId id="314" r:id="rId5"/>
    <p:sldId id="311" r:id="rId6"/>
    <p:sldId id="313" r:id="rId7"/>
    <p:sldId id="312" r:id="rId8"/>
    <p:sldId id="316" r:id="rId9"/>
    <p:sldId id="315" r:id="rId10"/>
    <p:sldId id="307" r:id="rId11"/>
    <p:sldId id="303" r:id="rId12"/>
    <p:sldId id="318" r:id="rId13"/>
  </p:sldIdLst>
  <p:sldSz cx="12192000" cy="6858000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55A4"/>
    <a:srgbClr val="2727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84" autoAdjust="0"/>
    <p:restoredTop sz="94660" autoAdjust="0"/>
  </p:normalViewPr>
  <p:slideViewPr>
    <p:cSldViewPr snapToGrid="0">
      <p:cViewPr varScale="1">
        <p:scale>
          <a:sx n="86" d="100"/>
          <a:sy n="86" d="100"/>
        </p:scale>
        <p:origin x="192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DD022B-619E-4057-92E0-B7A88DAA7E74}" type="datetimeFigureOut">
              <a:rPr lang="ru-RU" smtClean="0"/>
              <a:t>1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124D82-22FA-4D6E-B5F4-296AB6CC1CF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7879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7DB68D-50EA-44E6-83DE-6BAA45A27F34}" type="datetimeFigureOut">
              <a:rPr lang="ru-RU" smtClean="0"/>
              <a:t>17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E2911B-A936-4596-B10F-20A024101B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4987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bg>
      <p:bgPr>
        <a:blipFill dpi="0" rotWithShape="1">
          <a:blip r:embed="rId2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14573" y="3893842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9671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70176" y="2005012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endParaRPr lang="uk-UA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0412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ключительній слайд">
    <p:bg>
      <p:bgPr>
        <a:blipFill dpi="0" rotWithShape="1">
          <a:blip r:embed="rId2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mci.ua</a:t>
            </a:r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43935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66BB1-E7CD-4C9B-9B0D-7E924519C42C}" type="datetime1">
              <a:rPr lang="ru-RU" smtClean="0"/>
              <a:t>1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омплексные решения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608DB-48F2-42E0-8DA4-2C44EEC720D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619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81A71C-4814-449A-B0F3-C71E70D3A181}" type="datetime1">
              <a:rPr lang="ru-RU" smtClean="0"/>
              <a:t>17.09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омплексные решения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608DB-48F2-42E0-8DA4-2C44EEC720D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015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633251" y="6395622"/>
            <a:ext cx="107789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0688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1434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6304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ключительній слайд">
    <p:bg>
      <p:bgPr>
        <a:blipFill dpi="0" rotWithShape="1">
          <a:blip r:embed="rId2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254658" y="6375203"/>
            <a:ext cx="3776221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65544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80451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1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62337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  <a:latin typeface="+mn-lt"/>
              </a:defRPr>
            </a:lvl1pPr>
          </a:lstStyle>
          <a:p>
            <a:endParaRPr lang="uk-UA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  <a:latin typeface="+mn-lt"/>
              </a:defRPr>
            </a:lvl1pPr>
          </a:lstStyle>
          <a:p>
            <a:r>
              <a:rPr lang="en-US" smtClean="0"/>
              <a:t>emci.ua</a:t>
            </a:r>
            <a:endParaRPr lang="uk-UA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  <a:latin typeface="+mn-lt"/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83132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696066" y="619649"/>
            <a:ext cx="8657734" cy="7189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44344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>
          <a:xfrm>
            <a:off x="8742576" y="63590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  <a:latin typeface="+mn-lt"/>
              </a:defRPr>
            </a:lvl1pPr>
          </a:lstStyle>
          <a:p>
            <a:endParaRPr lang="uk-UA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0578" y="6362795"/>
            <a:ext cx="109084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D55A4"/>
                </a:solidFill>
                <a:latin typeface="+mn-lt"/>
              </a:defRPr>
            </a:lvl1pPr>
          </a:lstStyle>
          <a:p>
            <a:r>
              <a:rPr lang="en-US" dirty="0" smtClean="0"/>
              <a:t>emci.ua</a:t>
            </a:r>
            <a:endParaRPr lang="uk-UA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518475" y="6174172"/>
            <a:ext cx="533792" cy="364355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4D55A4"/>
                </a:solidFill>
                <a:latin typeface="+mn-lt"/>
              </a:defRPr>
            </a:lvl1pPr>
          </a:lstStyle>
          <a:p>
            <a:fld id="{4092C806-881B-43E3-B6F7-BB0ED254462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Текст 10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26632" y="365125"/>
            <a:ext cx="882716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7301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6" r:id="rId2"/>
    <p:sldLayoutId id="2147483713" r:id="rId3"/>
    <p:sldLayoutId id="2147483717" r:id="rId4"/>
    <p:sldLayoutId id="2147483719" r:id="rId5"/>
    <p:sldLayoutId id="2147483694" r:id="rId6"/>
    <p:sldLayoutId id="2147483695" r:id="rId7"/>
    <p:sldLayoutId id="2147483737" r:id="rId8"/>
    <p:sldLayoutId id="2147483696" r:id="rId9"/>
    <p:sldLayoutId id="2147483738" r:id="rId10"/>
    <p:sldLayoutId id="2147483701" r:id="rId11"/>
    <p:sldLayoutId id="2147483739" r:id="rId12"/>
    <p:sldLayoutId id="2147483740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9.png"/><Relationship Id="rId4" Type="http://schemas.openxmlformats.org/officeDocument/2006/relationships/tags" Target="../tags/tag4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21942" y="1376039"/>
            <a:ext cx="11585359" cy="2792027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uk-UA" sz="4800" dirty="0" smtClean="0"/>
              <a:t>Розвиток периферійного компоненту </a:t>
            </a:r>
            <a:r>
              <a:rPr lang="" sz="4800" dirty="0" smtClean="0"/>
              <a:t>Е-</a:t>
            </a:r>
            <a:r>
              <a:rPr lang="en-US" sz="4800" dirty="0" smtClean="0"/>
              <a:t>Health </a:t>
            </a:r>
            <a:r>
              <a:rPr lang="uk-UA" sz="4800" dirty="0" smtClean="0"/>
              <a:t>на актуальному етапі реформування охорони здоров’я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820908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10</a:t>
            </a:fld>
            <a:endParaRPr lang="uk-UA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947646" y="610685"/>
            <a:ext cx="5024718" cy="718957"/>
          </a:xfrm>
        </p:spPr>
        <p:txBody>
          <a:bodyPr/>
          <a:lstStyle/>
          <a:p>
            <a:pPr algn="r"/>
            <a:r>
              <a:rPr lang="" dirty="0" smtClean="0"/>
              <a:t>ВИЗИЯ</a:t>
            </a:r>
            <a:endParaRPr lang="uk-UA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b="20268"/>
          <a:stretch/>
        </p:blipFill>
        <p:spPr>
          <a:xfrm>
            <a:off x="1702495" y="2300568"/>
            <a:ext cx="8580283" cy="37717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75711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mci.ua</a:t>
            </a:r>
            <a:endParaRPr lang="en-US" dirty="0" smtClean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11</a:t>
            </a:fld>
            <a:endParaRPr lang="uk-UA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US" dirty="0" smtClean="0"/>
              <a:t>SYNERGY(</a:t>
            </a:r>
            <a:r>
              <a:rPr lang="uk-UA" dirty="0" err="1" smtClean="0"/>
              <a:t>синергия</a:t>
            </a:r>
            <a:r>
              <a:rPr lang="uk-UA" dirty="0" smtClean="0"/>
              <a:t> </a:t>
            </a:r>
            <a:r>
              <a:rPr lang="uk-UA" dirty="0" err="1" smtClean="0"/>
              <a:t>продуктов</a:t>
            </a:r>
            <a:r>
              <a:rPr lang="uk-UA" dirty="0" smtClean="0"/>
              <a:t> и </a:t>
            </a:r>
            <a:r>
              <a:rPr lang="uk-UA" dirty="0" err="1" smtClean="0"/>
              <a:t>сервисов</a:t>
            </a:r>
            <a:r>
              <a:rPr lang="" dirty="0" smtClean="0"/>
              <a:t>)</a:t>
            </a:r>
            <a:endParaRPr lang="uk-UA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05388" y="2092563"/>
            <a:ext cx="4286612" cy="310924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4659" y="3792844"/>
            <a:ext cx="2017131" cy="281793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isometricLeftDown"/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00595" y="2169110"/>
            <a:ext cx="5138760" cy="37117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isometricOffAxis1Righ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Блок-схема: сохраненные данные 8"/>
          <p:cNvSpPr/>
          <p:nvPr/>
        </p:nvSpPr>
        <p:spPr>
          <a:xfrm rot="16200000">
            <a:off x="6043981" y="3371266"/>
            <a:ext cx="855591" cy="5824575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BUS (</a:t>
            </a:r>
            <a:r>
              <a:rPr lang="uk-UA" dirty="0" smtClean="0"/>
              <a:t>ИНТЕГРАТИВНЯ ШИНА)</a:t>
            </a:r>
            <a:endParaRPr lang="uk-UA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77893" y="4467320"/>
            <a:ext cx="1950867" cy="12327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93007" y="4350429"/>
            <a:ext cx="2008172" cy="134964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33251" y="2092563"/>
            <a:ext cx="1810947" cy="11666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14" name="Group 10"/>
          <p:cNvGrpSpPr/>
          <p:nvPr/>
        </p:nvGrpSpPr>
        <p:grpSpPr>
          <a:xfrm>
            <a:off x="5603530" y="3339603"/>
            <a:ext cx="2214707" cy="2246221"/>
            <a:chOff x="2531217" y="1465942"/>
            <a:chExt cx="3901708" cy="3877503"/>
          </a:xfrm>
        </p:grpSpPr>
        <p:sp>
          <p:nvSpPr>
            <p:cNvPr id="15" name="Circular Arrow 17"/>
            <p:cNvSpPr/>
            <p:nvPr>
              <p:custDataLst>
                <p:tags r:id="rId1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Circular Arrow 19"/>
            <p:cNvSpPr/>
            <p:nvPr>
              <p:custDataLst>
                <p:tags r:id="rId2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Circular Arrow 20"/>
            <p:cNvSpPr/>
            <p:nvPr>
              <p:custDataLst>
                <p:tags r:id="rId3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Circular Arrow 18"/>
            <p:cNvSpPr/>
            <p:nvPr>
              <p:custDataLst>
                <p:tags r:id="rId4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5962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2857" y="1941297"/>
            <a:ext cx="4762587" cy="55810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“Be or not to be”</a:t>
            </a:r>
            <a:endParaRPr lang="uk-UA" dirty="0"/>
          </a:p>
        </p:txBody>
      </p:sp>
      <p:pic>
        <p:nvPicPr>
          <p:cNvPr id="7170" name="Picture 2" descr="Результат пошуку зображень за запитом &quot;be or not to be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5" y="1415514"/>
            <a:ext cx="3787227" cy="216777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7172" name="Picture 4" descr="Результат пошуку зображень за запитом &quot;пропасть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317" y="3179703"/>
            <a:ext cx="5042574" cy="28041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95013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831850" y="1926455"/>
            <a:ext cx="10515600" cy="1846556"/>
          </a:xfrm>
        </p:spPr>
        <p:txBody>
          <a:bodyPr>
            <a:noAutofit/>
          </a:bodyPr>
          <a:lstStyle/>
          <a:p>
            <a:r>
              <a:rPr lang="uk-UA" sz="4000" dirty="0">
                <a:solidFill>
                  <a:schemeClr val="accent1">
                    <a:lumMod val="75000"/>
                  </a:schemeClr>
                </a:solidFill>
              </a:rPr>
              <a:t>Розвиток периферійного компоненту </a:t>
            </a:r>
            <a:r>
              <a:rPr lang="" sz="4000" dirty="0">
                <a:solidFill>
                  <a:schemeClr val="accent1">
                    <a:lumMod val="75000"/>
                  </a:schemeClr>
                </a:solidFill>
              </a:rPr>
              <a:t>Е-</a:t>
            </a:r>
            <a:r>
              <a:rPr lang="en-US" sz="4000" dirty="0">
                <a:solidFill>
                  <a:schemeClr val="accent1">
                    <a:lumMod val="75000"/>
                  </a:schemeClr>
                </a:solidFill>
              </a:rPr>
              <a:t>Health </a:t>
            </a:r>
            <a:r>
              <a:rPr lang="uk-UA" sz="4000" dirty="0">
                <a:solidFill>
                  <a:schemeClr val="accent1">
                    <a:lumMod val="75000"/>
                  </a:schemeClr>
                </a:solidFill>
              </a:rPr>
              <a:t>на актуальному етапі реформування охорони здоров’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911749" y="4216601"/>
            <a:ext cx="10515600" cy="1864603"/>
          </a:xfrm>
        </p:spPr>
        <p:txBody>
          <a:bodyPr>
            <a:normAutofit lnSpcReduction="10000"/>
          </a:bodyPr>
          <a:lstStyle/>
          <a:p>
            <a:pPr algn="ctr"/>
            <a:r>
              <a:rPr lang="uk-UA" dirty="0" err="1" smtClean="0"/>
              <a:t>Терентюк</a:t>
            </a:r>
            <a:r>
              <a:rPr lang="uk-UA" dirty="0" smtClean="0"/>
              <a:t> В.Г., </a:t>
            </a:r>
            <a:r>
              <a:rPr lang="uk-UA" dirty="0" err="1" smtClean="0"/>
              <a:t>к.мед.н</a:t>
            </a:r>
            <a:endParaRPr lang="uk-UA" dirty="0" smtClean="0"/>
          </a:p>
          <a:p>
            <a:pPr algn="ctr"/>
            <a:r>
              <a:rPr lang="uk-UA" dirty="0" smtClean="0"/>
              <a:t>Асистент кафедри менеджменту охорони здоров’я інституту післядипломної освіти НМУ ім. </a:t>
            </a:r>
            <a:r>
              <a:rPr lang="uk-UA" dirty="0" err="1" smtClean="0"/>
              <a:t>О.О.Богомольця</a:t>
            </a:r>
            <a:endParaRPr lang="uk-UA" dirty="0" smtClean="0"/>
          </a:p>
          <a:p>
            <a:pPr algn="ctr"/>
            <a:r>
              <a:rPr lang="uk-UA" dirty="0" smtClean="0"/>
              <a:t>Керівник проектів з інформатизації ЗОЗ на базі МІС «</a:t>
            </a:r>
            <a:r>
              <a:rPr lang="uk-UA" dirty="0" err="1" smtClean="0"/>
              <a:t>ЕМСіМЕД</a:t>
            </a:r>
            <a:r>
              <a:rPr lang="uk-UA" dirty="0" smtClean="0"/>
              <a:t>» ТОВ «АЛТ Україна ЛТД</a:t>
            </a:r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2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1314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uk-UA" dirty="0" smtClean="0"/>
              <a:t>План презентації</a:t>
            </a:r>
            <a:endParaRPr lang="uk-UA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970176" y="2005012"/>
            <a:ext cx="10810492" cy="4351338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uk-UA" dirty="0" smtClean="0"/>
              <a:t>Найближчі плани та практичне впровадження електронних медичних записів – як це буде відбуватися.</a:t>
            </a:r>
          </a:p>
          <a:p>
            <a:pPr marL="514350" indent="-514350">
              <a:buAutoNum type="arabicPeriod"/>
            </a:pPr>
            <a:r>
              <a:rPr lang="uk-UA" dirty="0" smtClean="0"/>
              <a:t>Пілотне </a:t>
            </a:r>
            <a:r>
              <a:rPr lang="uk-UA" dirty="0" err="1" smtClean="0"/>
              <a:t>впродаження</a:t>
            </a:r>
            <a:r>
              <a:rPr lang="uk-UA" dirty="0" smtClean="0"/>
              <a:t> автоматизованого робочого місця лікаря для надання допомоги хворим, що потребують паліативного лікування.</a:t>
            </a:r>
          </a:p>
          <a:p>
            <a:pPr marL="514350" indent="-514350">
              <a:buAutoNum type="arabicPeriod"/>
            </a:pPr>
            <a:r>
              <a:rPr lang="uk-UA" dirty="0" smtClean="0"/>
              <a:t>Перше знайомство із МІС </a:t>
            </a:r>
            <a:r>
              <a:rPr lang="uk-UA" dirty="0" err="1" smtClean="0"/>
              <a:t>ЕМСІмед</a:t>
            </a:r>
            <a:r>
              <a:rPr lang="uk-UA" dirty="0" smtClean="0"/>
              <a:t>+ </a:t>
            </a:r>
            <a:endParaRPr lang="uk-UA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mci.ua</a:t>
            </a:r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8618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11275" y="0"/>
            <a:ext cx="3627382" cy="1796833"/>
          </a:xfrm>
        </p:spPr>
        <p:txBody>
          <a:bodyPr>
            <a:noAutofit/>
          </a:bodyPr>
          <a:lstStyle/>
          <a:p>
            <a:r>
              <a:rPr lang="uk-UA" sz="4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briola" panose="04040605051002020D02" pitchFamily="82" charset="0"/>
              </a:rPr>
              <a:t>Історичні каліграфічні медичні нотації</a:t>
            </a:r>
            <a:endParaRPr lang="uk-UA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abriola" panose="04040605051002020D02" pitchFamily="82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608DB-48F2-42E0-8DA4-2C44EEC720D7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2050" name="Picture 2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448" y="1796833"/>
            <a:ext cx="3270271" cy="295232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9448" y="4541467"/>
            <a:ext cx="3672408" cy="21266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трелка вправо 3"/>
          <p:cNvSpPr/>
          <p:nvPr/>
        </p:nvSpPr>
        <p:spPr>
          <a:xfrm>
            <a:off x="5178208" y="2470212"/>
            <a:ext cx="1277832" cy="36004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054" name="Picture 6" descr="Ð ÐµÐ·ÑÐ»ÑÑÐ°Ñ Ð¿Ð¾ÑÑÐºÑ Ð·Ð¾Ð±ÑÐ°Ð¶ÐµÐ½Ñ Ð·Ð° Ð·Ð°Ð¿Ð¸ÑÐ¾Ð¼ &quot;Ð¿Ð¾Ð»Ð½Ð°Ñ ÐºÐ¾Ð¼Ð¿ÑÑÑÐµÑÐ¸Ð·Ð°ÑÐ¸Ñ&quot;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03"/>
          <a:stretch/>
        </p:blipFill>
        <p:spPr bwMode="auto">
          <a:xfrm>
            <a:off x="7004529" y="2328178"/>
            <a:ext cx="4381106" cy="345210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659107" y="403221"/>
            <a:ext cx="114646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VS</a:t>
            </a:r>
            <a:endParaRPr lang="ru-RU" sz="5400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8250796" y="301840"/>
            <a:ext cx="3701060" cy="112609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3200" dirty="0" smtClean="0">
                <a:latin typeface="+mn-lt"/>
              </a:rPr>
              <a:t>Електронні медичні записи</a:t>
            </a:r>
            <a:endParaRPr lang="uk-UA" sz="3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42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uk-UA" dirty="0" smtClean="0"/>
              <a:t>Цифрова трансформація </a:t>
            </a:r>
            <a:br>
              <a:rPr lang="uk-UA" dirty="0" smtClean="0"/>
            </a:br>
            <a:r>
              <a:rPr lang="uk-UA" dirty="0" smtClean="0"/>
              <a:t>(у широкому сенсі)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70175" y="2005012"/>
            <a:ext cx="4755921" cy="3996293"/>
          </a:xfrm>
        </p:spPr>
        <p:txBody>
          <a:bodyPr/>
          <a:lstStyle/>
          <a:p>
            <a:r>
              <a:rPr lang="uk-UA" dirty="0" smtClean="0"/>
              <a:t>Цифрова </a:t>
            </a:r>
            <a:r>
              <a:rPr lang="uk-UA" dirty="0" err="1" smtClean="0"/>
              <a:t>трасформація</a:t>
            </a:r>
            <a:r>
              <a:rPr lang="uk-UA" dirty="0" smtClean="0"/>
              <a:t> медицини – ключовий аспект реформування медичної галузі, який дозволяє впливати на якість та сервіс медичної допомоги, а також створити нові умови для керування ЗОЗ </a:t>
            </a:r>
            <a:endParaRPr lang="uk-UA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mci.ua</a:t>
            </a:r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5</a:t>
            </a:fld>
            <a:endParaRPr lang="uk-UA" dirty="0"/>
          </a:p>
        </p:txBody>
      </p:sp>
      <p:pic>
        <p:nvPicPr>
          <p:cNvPr id="6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816" y="2005012"/>
            <a:ext cx="5584068" cy="3996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4948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uk-UA" dirty="0" smtClean="0"/>
              <a:t>Цифрова трансформація </a:t>
            </a:r>
            <a:br>
              <a:rPr lang="uk-UA" dirty="0" smtClean="0"/>
            </a:br>
            <a:r>
              <a:rPr lang="uk-UA" dirty="0" smtClean="0"/>
              <a:t>(у прикладному вимірі)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70175" y="2005012"/>
            <a:ext cx="4755921" cy="3749593"/>
          </a:xfrm>
        </p:spPr>
        <p:txBody>
          <a:bodyPr/>
          <a:lstStyle/>
          <a:p>
            <a:r>
              <a:rPr lang="uk-UA" dirty="0" smtClean="0"/>
              <a:t>Цифрова </a:t>
            </a:r>
            <a:r>
              <a:rPr lang="uk-UA" dirty="0" err="1" smtClean="0"/>
              <a:t>трасформація</a:t>
            </a:r>
            <a:r>
              <a:rPr lang="uk-UA" dirty="0" smtClean="0"/>
              <a:t> медицини – генерування, зберігання, обробка, аналіз, відновлення медичної інформації у форматі цифрових носіїв.</a:t>
            </a:r>
            <a:endParaRPr lang="uk-UA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mci.ua</a:t>
            </a:r>
            <a:endParaRPr lang="uk-UA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6</a:t>
            </a:fld>
            <a:endParaRPr lang="uk-UA" dirty="0"/>
          </a:p>
        </p:txBody>
      </p:sp>
      <p:pic>
        <p:nvPicPr>
          <p:cNvPr id="7" name="Picture 2" descr="https://i0.wp.com/polet-dushi.ru/wp-content/uploads/2017/04/Progress2.jpg?resize=800%2C44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50448" y="2005012"/>
            <a:ext cx="5480175" cy="3749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6369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608DB-48F2-42E0-8DA4-2C44EEC720D7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913908" y="113302"/>
            <a:ext cx="7106456" cy="1397906"/>
          </a:xfrm>
        </p:spPr>
        <p:txBody>
          <a:bodyPr>
            <a:noAutofit/>
          </a:bodyPr>
          <a:lstStyle/>
          <a:p>
            <a:r>
              <a:rPr lang="uk-UA" sz="3200" dirty="0" err="1">
                <a:latin typeface="+mn-lt"/>
              </a:rPr>
              <a:t>Дігаталізація</a:t>
            </a:r>
            <a:r>
              <a:rPr lang="uk-UA" sz="3200" dirty="0">
                <a:latin typeface="+mn-lt"/>
              </a:rPr>
              <a:t> </a:t>
            </a:r>
            <a:r>
              <a:rPr lang="uk-UA" sz="3200" dirty="0">
                <a:latin typeface="+mn-lt"/>
                <a:sym typeface="Wingdings" panose="05000000000000000000" pitchFamily="2" charset="2"/>
              </a:rPr>
              <a:t></a:t>
            </a:r>
            <a:r>
              <a:rPr lang="" sz="3200" dirty="0">
                <a:latin typeface="+mn-lt"/>
                <a:sym typeface="Wingdings" panose="05000000000000000000" pitchFamily="2" charset="2"/>
              </a:rPr>
              <a:t> </a:t>
            </a:r>
            <a:r>
              <a:rPr lang="uk-UA" sz="3200" dirty="0">
                <a:latin typeface="+mn-lt"/>
                <a:sym typeface="Wingdings" panose="05000000000000000000" pitchFamily="2" charset="2"/>
              </a:rPr>
              <a:t>Амбулаторної картки </a:t>
            </a:r>
            <a:r>
              <a:rPr lang="" sz="3200" dirty="0">
                <a:latin typeface="+mn-lt"/>
                <a:sym typeface="Wingdings" panose="05000000000000000000" pitchFamily="2" charset="2"/>
              </a:rPr>
              <a:t>форма 025/о</a:t>
            </a:r>
            <a:endParaRPr lang="uk-UA" sz="3200" dirty="0">
              <a:latin typeface="+mn-lt"/>
            </a:endParaRPr>
          </a:p>
        </p:txBody>
      </p:sp>
      <p:pic>
        <p:nvPicPr>
          <p:cNvPr id="5" name="Picture 2" descr="http://ua.papirus.com.ua/img/goods/1825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541" y="2583463"/>
            <a:ext cx="3050118" cy="213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://boston.at.ua/bostondovidka/1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909" y="2670004"/>
            <a:ext cx="1104946" cy="412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9865" y="2384617"/>
            <a:ext cx="2960901" cy="1513326"/>
          </a:xfrm>
          <a:prstGeom prst="rect">
            <a:avLst/>
          </a:prstGeom>
        </p:spPr>
      </p:pic>
      <p:sp>
        <p:nvSpPr>
          <p:cNvPr id="8" name="Стрелка вправо 7"/>
          <p:cNvSpPr/>
          <p:nvPr/>
        </p:nvSpPr>
        <p:spPr>
          <a:xfrm>
            <a:off x="5107845" y="3082486"/>
            <a:ext cx="1129972" cy="3988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662"/>
          </a:p>
        </p:txBody>
      </p:sp>
      <p:sp>
        <p:nvSpPr>
          <p:cNvPr id="9" name="TextBox 8"/>
          <p:cNvSpPr txBox="1"/>
          <p:nvPr/>
        </p:nvSpPr>
        <p:spPr>
          <a:xfrm>
            <a:off x="6001116" y="4984637"/>
            <a:ext cx="4932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ЦК ЕСОЗ МОЗ України</a:t>
            </a:r>
            <a:endParaRPr lang="uk-UA" sz="2000" b="1" dirty="0">
              <a:solidFill>
                <a:schemeClr val="tx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04878" y="1901597"/>
            <a:ext cx="60871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Структуровані електронні медичні записи</a:t>
            </a:r>
            <a:endParaRPr lang="uk-UA" sz="2000" b="1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80255" y="1875577"/>
            <a:ext cx="34313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 smtClean="0">
                <a:solidFill>
                  <a:schemeClr val="tx2"/>
                </a:solidFill>
              </a:rPr>
              <a:t>Медична карта амбулаторного хворого</a:t>
            </a:r>
            <a:endParaRPr lang="uk-UA" sz="2000" b="1" dirty="0">
              <a:solidFill>
                <a:schemeClr val="tx2"/>
              </a:solidFill>
            </a:endParaRPr>
          </a:p>
        </p:txBody>
      </p:sp>
      <p:sp>
        <p:nvSpPr>
          <p:cNvPr id="12" name="Стрелка вниз 11"/>
          <p:cNvSpPr/>
          <p:nvPr/>
        </p:nvSpPr>
        <p:spPr>
          <a:xfrm>
            <a:off x="3017891" y="4607510"/>
            <a:ext cx="481417" cy="5000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662"/>
          </a:p>
        </p:txBody>
      </p:sp>
      <p:pic>
        <p:nvPicPr>
          <p:cNvPr id="13" name="Picture 6" descr="http://dic.academic.ru/pictures/wiki/files/83/Schlagwortkatalo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618" y="5184692"/>
            <a:ext cx="2829964" cy="1461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Стрелка вниз 13"/>
          <p:cNvSpPr/>
          <p:nvPr/>
        </p:nvSpPr>
        <p:spPr>
          <a:xfrm>
            <a:off x="8150315" y="4457427"/>
            <a:ext cx="481417" cy="5000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662"/>
          </a:p>
        </p:txBody>
      </p:sp>
      <p:sp>
        <p:nvSpPr>
          <p:cNvPr id="2" name="Блок-схема: магнитный диск 1"/>
          <p:cNvSpPr/>
          <p:nvPr/>
        </p:nvSpPr>
        <p:spPr>
          <a:xfrm>
            <a:off x="7867893" y="5465779"/>
            <a:ext cx="1198485" cy="1180730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92160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uk-UA" dirty="0" smtClean="0"/>
              <a:t>Форма 025/о</a:t>
            </a:r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3854" y="1840467"/>
            <a:ext cx="10778247" cy="5017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8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2C806-881B-43E3-B6F7-BB0ED254462F}" type="slidenum">
              <a:rPr lang="uk-UA" smtClean="0"/>
              <a:pPr/>
              <a:t>9</a:t>
            </a:fld>
            <a:endParaRPr lang="uk-UA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uk-UA" dirty="0" smtClean="0"/>
              <a:t>Форма 003/о</a:t>
            </a:r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010" y="1828800"/>
            <a:ext cx="10684105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79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heme/theme1.xml><?xml version="1.0" encoding="utf-8"?>
<a:theme xmlns:a="http://schemas.openxmlformats.org/drawingml/2006/main" name="EMCI_2019">
  <a:themeElements>
    <a:clrScheme name="emci">
      <a:dk1>
        <a:srgbClr val="000000"/>
      </a:dk1>
      <a:lt1>
        <a:srgbClr val="F2F2F2"/>
      </a:lt1>
      <a:dk2>
        <a:srgbClr val="44546A"/>
      </a:dk2>
      <a:lt2>
        <a:srgbClr val="E7E6E6"/>
      </a:lt2>
      <a:accent1>
        <a:srgbClr val="796CC4"/>
      </a:accent1>
      <a:accent2>
        <a:srgbClr val="DF6613"/>
      </a:accent2>
      <a:accent3>
        <a:srgbClr val="A5A5A5"/>
      </a:accent3>
      <a:accent4>
        <a:srgbClr val="D10D8B"/>
      </a:accent4>
      <a:accent5>
        <a:srgbClr val="1FC0D1"/>
      </a:accent5>
      <a:accent6>
        <a:srgbClr val="6F3B55"/>
      </a:accent6>
      <a:hlink>
        <a:srgbClr val="2A235F"/>
      </a:hlink>
      <a:folHlink>
        <a:srgbClr val="0070C0"/>
      </a:folHlink>
    </a:clrScheme>
    <a:fontScheme name="EMCI">
      <a:majorFont>
        <a:latin typeface="Geometria"/>
        <a:ea typeface=""/>
        <a:cs typeface=""/>
      </a:majorFont>
      <a:minorFont>
        <a:latin typeface="Geometri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CI_2019" id="{F0004672-31C5-4F21-9B62-5185E2E11AFE}" vid="{206835C2-5646-46BA-AC7C-333E737F51B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9</TotalTime>
  <Words>207</Words>
  <Application>Microsoft Office PowerPoint</Application>
  <PresentationFormat>Широкоэкранный</PresentationFormat>
  <Paragraphs>40</Paragraphs>
  <Slides>1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Gabriola</vt:lpstr>
      <vt:lpstr>Geometria</vt:lpstr>
      <vt:lpstr>Wingdings</vt:lpstr>
      <vt:lpstr>EMCI_2019</vt:lpstr>
      <vt:lpstr>Розвиток периферійного компоненту Е-Health на актуальному етапі реформування охорони здоров’я</vt:lpstr>
      <vt:lpstr>Розвиток периферійного компоненту Е-Health на актуальному етапі реформування охорони здоров’я</vt:lpstr>
      <vt:lpstr>План презентації</vt:lpstr>
      <vt:lpstr>Історичні каліграфічні медичні нотації</vt:lpstr>
      <vt:lpstr>Цифрова трансформація  (у широкому сенсі)</vt:lpstr>
      <vt:lpstr>Цифрова трансформація  (у прикладному вимірі)</vt:lpstr>
      <vt:lpstr>Дігаталізація  Амбулаторної картки форма 025/о</vt:lpstr>
      <vt:lpstr>Форма 025/о</vt:lpstr>
      <vt:lpstr>Форма 003/о</vt:lpstr>
      <vt:lpstr>ВИЗИЯ</vt:lpstr>
      <vt:lpstr>SYNERGY(синергия продуктов и сервисов)</vt:lpstr>
      <vt:lpstr>“Be or not to be”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льник Ольга Анатольевна</dc:creator>
  <cp:lastModifiedBy>Vadym Terentyuk</cp:lastModifiedBy>
  <cp:revision>192</cp:revision>
  <dcterms:created xsi:type="dcterms:W3CDTF">2019-04-01T15:38:15Z</dcterms:created>
  <dcterms:modified xsi:type="dcterms:W3CDTF">2019-09-17T07:53:34Z</dcterms:modified>
</cp:coreProperties>
</file>